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sldIdLst>
    <p:sldId id="271" r:id="rId3"/>
    <p:sldId id="257" r:id="rId4"/>
    <p:sldId id="266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52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60A19-EB33-5B47-AA38-0724F7129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EEC55-9275-0548-9BDE-A98618C8D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82E7F-3749-4341-AA8A-86F6F0D31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C9425-2234-4337-83A8-2BCA40686C90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82AEC-86A5-D844-BBED-C577974EC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674A7D-F3CF-F443-AC80-C2EAE056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88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1153-6726-0643-A043-2379E41D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9514D3-0EDA-8B4F-93DE-4A1789A55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67B16-C154-A64D-8F29-1FE70B420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BDEF0-E09C-4EC7-ACEF-B7D58F73B4E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E2370-BEFC-A340-83BD-5AFE1462C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BE8A2-2A7B-D942-A2C2-2E85ADDAB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923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092095-49C0-734E-A247-DEEEE415C4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13638-6A13-094C-B635-32CA53272B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558F3-4768-7D46-B545-8C092D70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A4B5F-141C-4CB0-8325-F048CE0EF8F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1982D-6AE7-D349-B8A3-FCE2B7A9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5246B-AD71-FD40-89B0-DB46C13D7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773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0E10061B-789A-42FF-8E62-511FEFCF9B06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2AFFF-F2C7-4A37-9B11-BCED3052A8D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50CC9E-4E8B-411D-952E-1634E9AC0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64F084-BD6E-4CC3-9B52-611415964C7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780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9A7676-8466-46D4-9FFC-7FD6E3131BF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858C418D-956F-4AF1-A6A9-7E4C99048F0B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58A304-E741-4720-8523-B207E95758E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69173B-1148-4D80-B303-C318F6FD8CB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54FCF65-3F91-426F-8B40-D14449BC4D1E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DD1C0B-FF7F-42EA-82AD-85D6071933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9A8563-2B0C-4FB2-89E3-D45F086E8AEF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FDB6D7F-7078-4E29-BFE4-67F6B1B8B543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681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212A9BDC-F2C2-4267-829C-A309AA2F61DC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3C9363E-A254-4F77-A0E0-69999E2B6A15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6DDF9A-C58D-42CF-AB8B-11B0BDEC5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6E40C6-261A-45B3-826E-E4278438DE7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AEFDF6-5134-4962-A4BA-D82F257310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9A5C-AA68-4965-B373-3734E9DE74E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7317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B474F-A7F3-4EB7-853B-56B286453377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7637C30-FCDA-4071-B661-900A99BEF6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FC5E06-9E83-45A5-899A-38844A81FF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D6332-11CD-4B0D-8E61-97F05DD000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325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F809E07-9438-493B-84DC-9A3D52C5632F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E8A741BE-D973-462A-B31F-D1119410DD74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562DF-D932-444A-891D-E1B5988E6A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F0C9219B-F30F-4D94-AF5D-7299FE990275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7718AF8-03E4-4E11-BA70-060AB602B755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2E00C1A-7F45-4B84-84C4-D661FE2283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4B7D399-B7E4-4631-9F17-DDA042F319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2BC4F-1CA7-41F0-9E90-DAF11B3BD7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4867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F8CC69-6E79-4D54-AC3C-6D5A31C585A4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53101BE0-1560-4741-B5DE-0A265398C6B5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4EB59D7-551D-4C17-9DC6-286C9E4A68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83C0A34-849E-4E11-99AF-456853FA8920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CBAAC6D-5C29-48D7-85BE-981BAEF2C133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D983BA3-455C-424A-A78D-0676A7567CA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7B40409-9726-4941-BBE6-35EEA4756C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A046-9AE0-4777-A9FB-A17C25C310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8753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5BA3DBB-C8E3-4563-9224-B54539726D33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BB4DEC6F-E40C-4ACB-A05E-6971CA60F229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EB62C46-8E6C-4DFF-867E-2269594BBF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A7F6E8C-4378-49F6-923A-E6F4DD9BC14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C03FA4F-714E-4DC2-A142-67931D44E5EB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3A8D108-CAA5-4662-903C-8055B80EEB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679B1CB-81A4-4356-BE47-C9C7C3669C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B4081-CD93-4EAC-AFA6-C7C60174FC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484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E0EFE75-2EF4-460E-ACE8-B524801CC739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76F060-E2EE-446B-A919-D16FA988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905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5E44E-DE65-BD4A-AD6A-912E70E6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87F1C-78E6-4C46-8379-0AF7269CE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A5B83-6083-F748-9509-BFA4FB224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2DCA7-D6C9-4108-9674-CE34EAF39A5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6CD984-C170-364A-8061-1622AB2C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4B1B0-0BD6-454C-9764-2708FD273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3133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AF235C6A-29ED-4073-B106-C3E1F76DECDE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644C4386-1E8C-466E-8DAF-2906658ECD0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5B1521C3-EF31-4250-A334-B11D8C371C86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1CA615DE-5DF8-48C3-81F3-6E1F11167B25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160F2B3-A959-4ACD-952B-D0630BBF9F01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18588D5-A129-41D2-8D59-2491405053A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8AE294-7FFA-458A-B625-5527BB4A488A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5320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43042A-AEEC-4A5A-804F-0C212591B475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FD7486-A58C-4B2E-B245-C1DA6F8F5D6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6054C3-A5E1-45D4-BF37-50B48BE1C97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D6397-C8AB-4B9C-814C-4F1FE5D3338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514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0EDDF2-7F07-4362-BCDC-29EF63C227E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8D7EB24-D87E-4326-A831-55B51C1EBC59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CF0165-5236-4A18-AFD7-E2C15E37FA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34650-C8A5-49AB-9277-08052C1F2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FF066B7-2BCD-4B3E-BC0D-937C40CC6A4D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6D4B88-A094-46D6-AEAD-6084D1039CE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9A7FCD-24FA-4AAF-A522-67AFB44DB48A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6BAB701-8338-47D9-A1B3-EB6A11213F0A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52116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9D7ABD3-AE33-4C2A-A4F1-57C1CC063394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5E5059D5-83B6-4E3C-8691-B21BD8C73A0D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5C33A8C-3829-4B9A-ABB1-72E6CB77E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41124E0-5849-4CD3-82EB-7318847FF89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A08C98F5-9F69-4ED8-850E-9FFE01FDCC1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3F3D1AB-1A77-4E7E-BE43-FE8B2E8C7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C99E6CA-102C-4B88-8A06-61E8998E5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200FB-2745-4F6B-997A-F5BF546314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947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5AAAEBDC-CE2D-4406-B476-C082B31EBD2C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A300503-FE8B-4BD7-8820-70D0EE051AE9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2D1BB40-A57B-4093-9BB3-EFE1854DB18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D8F7BCC-EDE8-445A-8560-17B42A88AAF8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9B4A864A-17B8-4B65-AA03-2B3141C0A732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B1C8CA3-31F0-4D73-9AB7-C5BD80D4E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F92F4D2-D714-4730-9136-76869B1BC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A095-9D4E-46E5-881E-7F9EBAE573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9998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2C20DE-FD33-4A6E-810D-EB78A869E6BA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C405C02D-9CCF-403D-8044-831EA3B8FCCB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380B31-E741-45ED-89EC-0C314DA0D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A7536251-D387-4E19-9405-80D402F21899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B7B713A-74FC-49DE-A8B6-369B37060273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5C7404A-B9BE-403B-9CCB-7AA8A18A74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67BCF27-B6C1-4053-A6D4-158AE8672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F4AAF-F9BB-4F03-B3B7-8607AFA5C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4631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9093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504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9B37A18F-4E11-4279-B7B6-3C64CCF37C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463213" y="6623050"/>
            <a:ext cx="357187" cy="1381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C8AEF2-83C7-4DCA-92F1-322B2EBA01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CF06810-D0E0-4693-AB99-DFF9195CB0B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16913" y="6621463"/>
            <a:ext cx="1620837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290F4-3857-4872-8AE4-DA58ED8B3950}" type="datetime9">
              <a:rPr lang="en-GB"/>
              <a:pPr>
                <a:defRPr/>
              </a:pPr>
              <a:t>10/05/2024 08:56:4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06726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-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36" y="241300"/>
            <a:ext cx="11040533" cy="719138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lang="en-GB" sz="1600" b="0" i="0" kern="1200" spc="-50" baseline="0" dirty="0" smtClean="0">
                <a:solidFill>
                  <a:schemeClr val="tx1"/>
                </a:solidFill>
                <a:effectLst/>
                <a:latin typeface="Montserrat Medium" pitchFamily="2" charset="77"/>
                <a:ea typeface="+mj-ea"/>
                <a:cs typeface="+mj-cs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tabLst/>
              <a:defRPr sz="1600"/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673" y="1143000"/>
            <a:ext cx="11406792" cy="5072558"/>
          </a:xfrm>
        </p:spPr>
        <p:txBody>
          <a:bodyPr/>
          <a:lstStyle>
            <a:lvl1pPr marL="0" indent="0">
              <a:lnSpc>
                <a:spcPts val="3001"/>
              </a:lnSpc>
              <a:buNone/>
              <a:defRPr lang="en-GB" smtClean="0">
                <a:effectLst/>
              </a:defRPr>
            </a:lvl1pPr>
            <a:lvl2pPr marL="0" marR="0" indent="0" algn="l" defTabSz="914344" rtl="0" eaLnBrk="1" fontAlgn="auto" latinLnBrk="0" hangingPunct="1">
              <a:lnSpc>
                <a:spcPts val="3001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Montserrat"/>
              <a:buNone/>
              <a:tabLst/>
              <a:defRPr lang="en-GB" smtClean="0">
                <a:effectLst/>
              </a:defRPr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34CCEB1-9E5F-4799-BCB7-3FD6E442A7B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5763" y="6408738"/>
            <a:ext cx="4800600" cy="287337"/>
          </a:xfrm>
        </p:spPr>
        <p:txBody>
          <a:bodyPr/>
          <a:lstStyle>
            <a:lvl1pPr algn="ctr" defTabSz="914400">
              <a:defRPr dirty="0"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VI Technology Implementation Project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E9635E-723B-40F5-84FA-33B9D35188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fld id="{7C1162DF-D67B-4DAE-A5A7-EA1BF038C27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721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ECE3-3AB9-8549-BFAC-7BDEC2616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3810F-D8D2-9345-B4D8-67FD4EC4D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8C31-310B-F44D-B241-92F0C6DB6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CD11-B72E-45D9-9452-B04AC712C96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39BBB-78D6-2148-AE92-1626A9D7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03E9-398A-584B-A36E-DB5F0FF4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999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106AAE72-FFE0-4F8D-B8F3-7E7AC8D65A2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50CF92-BF78-4C7C-884D-E2A390DE8F8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10398-FEA1-444C-BF67-54AC6818AA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EBF04E-E119-4281-904A-AE67788017C2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01897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974D8F20-B067-4FED-9998-DE0E7704E37A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1BA0C9A-2D66-4022-AF17-30EB15488A6C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6BCC5C-9CDA-4E8F-BBF9-E7666142F0D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83769D-5123-4228-81DB-AEE452CA3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1CB3DA9-A9AC-42C1-8052-2E26DDC4FE08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D6BC1-E11B-4EF1-9973-FF11B169CAB5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58B46A-320D-4D3B-9F48-4F043C0ECC1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9D63716-CA6F-475B-967A-74175FDF169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4483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1DBE7F98-C0D4-4069-845C-6DA3BA04FC50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C7FE499-58F7-4215-BBE3-1BA78A1F62F1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100BC-E622-446C-9C90-E6BC06BB95E3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FAA6BC4-C0D1-4596-BC96-FAB4854333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41C117-254B-4421-A2D6-438C73AA0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0BB010-E4EF-473C-ACD7-7674AE368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041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F2095A9-7E3F-4D3B-A2EB-2D3A9B79627D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3237BB4-92A6-42D5-B23B-461C9A551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C34F241-F6C2-4ADC-9047-829FA85C09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18C62A6-3FC2-4608-9E86-BBE75C4FB7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79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4B7501E-83E9-4104-B808-B866A1FC3821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C4F69358-C244-4104-9F9E-517656F86D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FDCB46-C01B-44AD-BF6B-4A28E6FB5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A97987F-1DC7-4F47-8D92-E5ED5956E4F1}"/>
              </a:ext>
            </a:extLst>
          </p:cNvPr>
          <p:cNvSpPr/>
          <p:nvPr userDrawn="1"/>
        </p:nvSpPr>
        <p:spPr>
          <a:xfrm flipH="1">
            <a:off x="6680200" y="0"/>
            <a:ext cx="1282700" cy="476250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DC9D98A-F830-482D-A8B6-585C180AA7A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4FE1809-5C5A-4ED5-9E1A-7EE19232F3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87A3BA65-0659-4C1D-8788-233B041C26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38DCCE-A851-4B3A-8CB1-04F2F09E1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798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E39775-5158-4314-B8B1-C566CB7C2450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499F1F42-5117-46D1-85C7-3F5583CA63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E5D0BB3-F680-4C00-B96D-7C4D163BB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0C42D7A-3B17-4E68-8537-52D5F1FEDF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974A1C7-3491-4E03-A89F-26D41088274E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3ADE43BE-3683-4D20-9482-51BF202766B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682918DA-4CEF-45E3-A475-AFE9CD48F4E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36D89F-BC88-40F3-BBA2-1BDAADF63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946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82EFA-1817-4EE4-A615-1E50B96B3F09}"/>
              </a:ext>
            </a:extLst>
          </p:cNvPr>
          <p:cNvGrpSpPr/>
          <p:nvPr userDrawn="1"/>
        </p:nvGrpSpPr>
        <p:grpSpPr>
          <a:xfrm flipH="1">
            <a:off x="8056985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93B44480-900D-407B-9ECC-64D9E6A070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0360C0-BF78-49FA-9342-207784974F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CA999C14-079E-4BDF-9D44-378CCBD27596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F124080-EFE1-4B5B-9DBC-AD50E31CDB0E}"/>
              </a:ext>
            </a:extLst>
          </p:cNvPr>
          <p:cNvSpPr/>
          <p:nvPr userDrawn="1"/>
        </p:nvSpPr>
        <p:spPr>
          <a:xfrm flipH="1">
            <a:off x="71755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0F29ED2-B42B-4B22-BB7C-BD133BDCACC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7806661-2AB7-4CED-9153-C13AD03E61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9CD9A6-F6C8-44AD-B84D-F4356493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961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30CF550-C460-40A7-B672-53E6A87F674D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282C31-99D1-4FA3-AEBD-FD54954D5D7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7094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7C8C5592-E1F1-4874-B328-A72485D34ABA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738AF00F-E6DB-4FE3-82F6-85B2E7AF681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42305002-85EF-4FBB-BBEA-C24897AB78F3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BFFA57F4-B46A-468E-8510-D34D5CA4C838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EA6EC03-3240-4BFE-903B-9086AD70165B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81876B-557E-4354-8218-FCBE24F0779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3BB499B-4497-4065-B84B-F9EE5CE40848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90891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529739E2-7CDD-40D9-96A6-417CEDE8F6C7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CECA666-B8C5-4AEF-93E3-545D268BAA01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A035CC-66C9-46CB-B021-D95C80A56570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DBC90A-5FB6-4B5A-99D9-86323AC16DC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982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F1B4-6A5B-EE48-A161-B7D7317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B5B09-4B25-C941-B651-BAEB791254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D0C27-E88A-6344-A1BC-C38CA00FEB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066F6-CD65-7C4E-9BE9-DD2E6A2D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0FF9-0FA4-4C1C-8F36-081020902CF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CB48E9-270D-174B-B7D7-1B942194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57802-4307-024D-84FE-8EC7B33F9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4239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C6F4D39-5A42-4613-A440-F7E76DAA9F2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44A1E9-BFAA-440C-99ED-7C7C0A81406D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F793B2-2196-4E73-B5B0-943A768AE8CD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C86CD-3EDB-48B4-A50A-ADC3571F36C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85AA3C-A2DA-4664-B361-57779E76DFCA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51F49B-F3B8-4B9D-8977-F105C885E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4A716-1F6E-45C3-830A-4792A7184B44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E87D367-D3BD-49B4-98C3-062967494D8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4565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F22C077-F5C2-4BEC-A858-7D28FA408A78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0E00A484-E419-4B69-A11F-B251804785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48CCF5B-F8B3-4E4A-BC40-A3CC9B76CB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A21F7697-41FB-40DC-973D-DE1BC18AA11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7693084-24CE-4F75-B6D7-EB3A32FE70C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7C264062-7966-4C14-A272-07B899E90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3998777-8C19-4A65-B4DB-E012E96F5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C2BB20-774F-4B8D-8D40-E82AE2F27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74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15A78023-6584-4480-9D72-45D44D87B01A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F2318C7-CD15-43FA-8752-3330B5563A2D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D9DBA7B-CF6F-4922-9FFA-B3B8B3AC9AA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88F356E-7062-4D24-9BEB-23D0E53AF854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205DC664-756B-40CB-BB91-613CC5BD61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B750CCD-2DE4-4B46-A657-B2B04E964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3A136-33A2-4C58-B80F-A79CC084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665023-AE77-46E6-B553-DBB992C5C1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8604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BCC4BF7-E260-4343-94B9-3A4807FD286B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B5172F52-1B08-4F13-8B13-53C3DD46384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2765506-E6B4-4423-893C-1E855C8A2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FD0E567-0DC7-47D6-8BFC-EA0C9D6A2710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6B79687-4727-4249-AF60-8D11D5DCEB58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C797181-F8E0-4868-BCDC-2F86B668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948DCC1-4550-4431-B213-F92051378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FD5826-C55D-41B1-812A-A1B17D089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4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6DFF8-4F5D-0447-9530-6945A7DF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6C8C-1DF1-F940-8AC4-ED2735383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D699E-594C-C84D-B1FE-6D15A3DFC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EF75B4-8002-B748-849E-914832A05C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817E6E-B0A7-AF40-8211-B7854AF00C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FC29-7D31-BF4F-B05B-75DC874E2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0A7B-F58A-4119-9DB7-BF10F0C3745A}" type="datetime1">
              <a:rPr lang="en-US" smtClean="0"/>
              <a:t>5/1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21A41D-F441-9646-A2BD-86C236BAC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371AC4-4D21-344C-8EC5-98CD2B526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7564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32520-F605-7843-A767-9F3C0BFA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8447BB-FC85-8445-8068-138DD5634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E7734-399F-41D2-953C-DC1C65624066}" type="datetime1">
              <a:rPr lang="en-US" smtClean="0"/>
              <a:t>5/1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691AB-F8AE-824B-825B-FF2C6E9E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09246-C5E1-164F-8E35-36AE58C7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078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C98ACA-C8CA-1341-8A52-DC61CFF87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EC3DD-91A9-4EC3-934B-3458A79E087C}" type="datetime1">
              <a:rPr lang="en-US" smtClean="0"/>
              <a:t>5/1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1C092-BACC-8740-B71A-D664C2C4D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464C1-568A-0048-96B9-FA74C211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036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20CA-9716-E34E-B24F-6F3C15E64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FD6DB-B85B-4949-A7A4-33BE0EB0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E38D8-00CD-E942-8B7B-103E7FDBAF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A6466-FF03-6543-B9F5-70724B11C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9D45-DDB9-45F7-A7CC-2B572801A2E2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300DE-4E71-754A-A0A2-94BE94B77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0D482F-1BFC-7F4C-8AE9-5FE4658F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7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0088F-BBEC-0F4C-BB4A-AC617F023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D37FD3-E518-7A43-8FE1-A4CADAF74F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DEE87-0C25-2E40-AC2E-0E78A0AFDB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D0C433-0542-1342-AC73-7EAEC7D96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AE04-174D-46D3-9D33-F6399E3E6BC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637A2-D0E2-0B45-882F-46F2FC06F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C0748-F7C5-1543-BF4B-EE26F3087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926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02CAA2-0EFA-4F4A-8AC1-8524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BAAF8-6423-7F42-BE4B-D78180EBB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BC6DB-502C-F442-984F-952AC16328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872DE-0E22-48E5-8A00-D268608FD87F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00755-CEAA-CA43-9FB4-D13CAB0FD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C95F0-BA3B-864C-96C3-F7C5D7501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9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B42DE-ECE9-486A-8780-F04A9C997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55BC7-FC64-4E9A-A9BB-533D4E045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7425" y="6356350"/>
            <a:ext cx="7397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530178-0652-427E-A8A3-856E445053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100" name="Title Placeholder 8">
            <a:extLst>
              <a:ext uri="{FF2B5EF4-FFF2-40B4-BE49-F238E27FC236}">
                <a16:creationId xmlns:a16="http://schemas.microsoft.com/office/drawing/2014/main" id="{1A88BE4F-E373-44DE-AA19-99F734F22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9113" y="209550"/>
            <a:ext cx="10834687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IN" sz="4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IN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5">
            <a:extLst>
              <a:ext uri="{FF2B5EF4-FFF2-40B4-BE49-F238E27FC236}">
                <a16:creationId xmlns:a16="http://schemas.microsoft.com/office/drawing/2014/main" id="{96575726-AB8D-477B-925E-64A6B439C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1103313"/>
            <a:ext cx="4122738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Text Placeholder 5">
            <a:extLst>
              <a:ext uri="{FF2B5EF4-FFF2-40B4-BE49-F238E27FC236}">
                <a16:creationId xmlns:a16="http://schemas.microsoft.com/office/drawing/2014/main" id="{91DC8B7A-0AAE-4FA8-9FD4-DC9971428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35089" y="3973363"/>
            <a:ext cx="5216986" cy="1099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858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Scenario 1: Segregated Roads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Version October 2020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96260" name="Picture 19">
            <a:extLst>
              <a:ext uri="{FF2B5EF4-FFF2-40B4-BE49-F238E27FC236}">
                <a16:creationId xmlns:a16="http://schemas.microsoft.com/office/drawing/2014/main" id="{FA3DD556-8C06-4FDE-86A1-37870B7BF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44743" r="7394" b="38982"/>
          <a:stretch>
            <a:fillRect/>
          </a:stretch>
        </p:blipFill>
        <p:spPr bwMode="auto">
          <a:xfrm>
            <a:off x="6452075" y="6273502"/>
            <a:ext cx="1670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1" name="Picture 16">
            <a:extLst>
              <a:ext uri="{FF2B5EF4-FFF2-40B4-BE49-F238E27FC236}">
                <a16:creationId xmlns:a16="http://schemas.microsoft.com/office/drawing/2014/main" id="{F4510B1D-3E19-4924-A455-F57C8A770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118" y="6278265"/>
            <a:ext cx="8112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2" name="Picture 12">
            <a:extLst>
              <a:ext uri="{FF2B5EF4-FFF2-40B4-BE49-F238E27FC236}">
                <a16:creationId xmlns:a16="http://schemas.microsoft.com/office/drawing/2014/main" id="{E9107983-AEB7-4105-AF55-43DF2814A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146" y="6271914"/>
            <a:ext cx="150495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3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80F427-DAAA-458C-8F91-BB376DD8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896" y="6156027"/>
            <a:ext cx="19907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4" name="Picture 15">
            <a:extLst>
              <a:ext uri="{FF2B5EF4-FFF2-40B4-BE49-F238E27FC236}">
                <a16:creationId xmlns:a16="http://schemas.microsoft.com/office/drawing/2014/main" id="{CBD8023F-3D9B-4D6C-90EA-0BA073DC4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079827"/>
            <a:ext cx="15414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Picture 10" descr="A picture containing clock, sign&#10;&#10;Description automatically generated">
            <a:extLst>
              <a:ext uri="{FF2B5EF4-FFF2-40B4-BE49-F238E27FC236}">
                <a16:creationId xmlns:a16="http://schemas.microsoft.com/office/drawing/2014/main" id="{73ADDEBA-4735-4802-A4A7-0E60B68D1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642" y="6305252"/>
            <a:ext cx="760412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">
            <a:extLst>
              <a:ext uri="{FF2B5EF4-FFF2-40B4-BE49-F238E27FC236}">
                <a16:creationId xmlns:a16="http://schemas.microsoft.com/office/drawing/2014/main" id="{0C2C7FC1-0259-4290-B89E-6BB8A52FE5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2319189"/>
            <a:ext cx="9774237" cy="125382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Control Improvement Proje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Knowledge Hub Resource - </a:t>
            </a:r>
            <a:r>
              <a:rPr kumimoji="0" lang="en-AU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ory Board Seri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343328-5B38-4A53-B55D-7FCC053CF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401" y="209028"/>
            <a:ext cx="9101183" cy="1215566"/>
          </a:xfrm>
        </p:spPr>
        <p:txBody>
          <a:bodyPr>
            <a:normAutofit fontScale="90000"/>
          </a:bodyPr>
          <a:lstStyle/>
          <a:p>
            <a:r>
              <a:rPr lang="en-AU" dirty="0"/>
              <a:t>Adapting and Using EMESRT Story Board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5AD79E0-86DD-485A-B0CB-35369107F4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3401" y="1672067"/>
            <a:ext cx="9619861" cy="45532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0" rIns="36000" bIns="36000"/>
          <a:lstStyle/>
          <a:p>
            <a:pPr defTabSz="9144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AU" sz="2000" b="1" kern="0" dirty="0">
                <a:latin typeface="Calibri" pitchFamily="34" charset="0"/>
                <a:cs typeface="Calibri" pitchFamily="34" charset="0"/>
              </a:rPr>
              <a:t>What are they? 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 Story Board approach was developed by an EMESRT Member Company to assist with the specification and installation of Proximity Detection Systems (PDS) on mobile equipment at surface mines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y provide a visual and dynamic reference for equipment operators, PDS suppliers VI Control Improvement project managers as they implement VI intervention controls (EMESRT Levels 8–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How can I use them?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view each Story Board </a:t>
            </a: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in presentation mode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As required, adapt the resource to your circumstances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Use the Story Boards as a resource during </a:t>
            </a:r>
            <a:r>
              <a:rPr lang="en-US" sz="2000" i="1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Phase 4 - New Technology Implementation </a:t>
            </a:r>
            <a:endParaRPr lang="en-US" sz="2000" i="1" kern="0" dirty="0">
              <a:solidFill>
                <a:srgbClr val="0011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38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3CE60B8-9EFE-3F43-9613-ABFC660B72CE}"/>
              </a:ext>
            </a:extLst>
          </p:cNvPr>
          <p:cNvSpPr/>
          <p:nvPr/>
        </p:nvSpPr>
        <p:spPr>
          <a:xfrm rot="5400000">
            <a:off x="2622862" y="705625"/>
            <a:ext cx="1697082" cy="2968010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2F9747-E51B-7443-8B68-B865CD5E2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426" y="217642"/>
            <a:ext cx="10515600" cy="647598"/>
          </a:xfrm>
        </p:spPr>
        <p:txBody>
          <a:bodyPr>
            <a:normAutofit fontScale="90000"/>
          </a:bodyPr>
          <a:lstStyle/>
          <a:p>
            <a:r>
              <a:rPr lang="en-US" dirty="0"/>
              <a:t>Segregated Road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B623BA-548A-6F45-847C-E26B4349D9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1600" y="933782"/>
            <a:ext cx="6830962" cy="5351336"/>
          </a:xfrm>
        </p:spPr>
        <p:txBody>
          <a:bodyPr>
            <a:normAutofit/>
          </a:bodyPr>
          <a:lstStyle/>
          <a:p>
            <a:r>
              <a:rPr lang="en-US" sz="2000" dirty="0"/>
              <a:t>Geofence is created to prevent specified unauthorized LOs (vehicle type) to enter a specific road in the mine –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/>
              <a:t>Awareness - When LO’s outer beam breaches the No Go zone/geofence, then the CAS screen will brighten and No Go Zone icon will appear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/>
              <a:t>Alert – If the LO’s inner beam breaches the No Go zone/geofence an in cab verbal prompt will be triggered ”No-Go Zone Ahead”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/>
              <a:t>Alarm - If the LO’s body breaches the No Go zone/geofence an in cab verbal prompt will be triggered ”No Go Zone Breach”</a:t>
            </a:r>
          </a:p>
          <a:p>
            <a:pPr lvl="2"/>
            <a:r>
              <a:rPr lang="en-US" sz="1200" dirty="0"/>
              <a:t>Prompt will continue until vehicle exits the zone</a:t>
            </a:r>
            <a:endParaRPr lang="en-US" sz="1800" dirty="0">
              <a:solidFill>
                <a:prstClr val="black"/>
              </a:solidFill>
            </a:endParaRPr>
          </a:p>
          <a:p>
            <a:pPr marL="914400" lvl="2" indent="0">
              <a:buNone/>
            </a:pPr>
            <a:endParaRPr lang="en-US" sz="3200" dirty="0"/>
          </a:p>
          <a:p>
            <a:pPr lvl="1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5561BF6-575D-524F-B7CA-2EF6A6380CBE}"/>
              </a:ext>
            </a:extLst>
          </p:cNvPr>
          <p:cNvSpPr/>
          <p:nvPr/>
        </p:nvSpPr>
        <p:spPr>
          <a:xfrm>
            <a:off x="68834" y="933782"/>
            <a:ext cx="2670680" cy="5706576"/>
          </a:xfrm>
          <a:prstGeom prst="rect">
            <a:avLst/>
          </a:prstGeom>
          <a:blipFill>
            <a:blip r:embed="rId2"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619E5AA-A53A-5E4D-AA5D-88DC2740005E}"/>
              </a:ext>
            </a:extLst>
          </p:cNvPr>
          <p:cNvGrpSpPr/>
          <p:nvPr/>
        </p:nvGrpSpPr>
        <p:grpSpPr>
          <a:xfrm>
            <a:off x="2774499" y="778072"/>
            <a:ext cx="481778" cy="726266"/>
            <a:chOff x="2843326" y="866560"/>
            <a:chExt cx="481778" cy="726266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711F194-05ED-C64A-B160-4A317229C750}"/>
                </a:ext>
              </a:extLst>
            </p:cNvPr>
            <p:cNvSpPr txBox="1"/>
            <p:nvPr/>
          </p:nvSpPr>
          <p:spPr>
            <a:xfrm>
              <a:off x="2843326" y="866560"/>
              <a:ext cx="481778" cy="461665"/>
            </a:xfrm>
            <a:prstGeom prst="rect">
              <a:avLst/>
            </a:prstGeom>
            <a:ln w="41275"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V’s Only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239889E-8651-E54D-88F4-7DD4F10CF892}"/>
                </a:ext>
              </a:extLst>
            </p:cNvPr>
            <p:cNvCxnSpPr>
              <a:cxnSpLocks/>
            </p:cNvCxnSpPr>
            <p:nvPr/>
          </p:nvCxnSpPr>
          <p:spPr>
            <a:xfrm>
              <a:off x="3057832" y="1341089"/>
              <a:ext cx="0" cy="251737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05791BB6-68F8-7441-865E-AC4432824D48}"/>
              </a:ext>
            </a:extLst>
          </p:cNvPr>
          <p:cNvSpPr/>
          <p:nvPr/>
        </p:nvSpPr>
        <p:spPr>
          <a:xfrm>
            <a:off x="2664542" y="1292028"/>
            <a:ext cx="2359735" cy="1834630"/>
          </a:xfrm>
          <a:prstGeom prst="rect">
            <a:avLst/>
          </a:prstGeom>
          <a:solidFill>
            <a:schemeClr val="lt1">
              <a:alpha val="16000"/>
            </a:schemeClr>
          </a:solidFill>
          <a:ln w="38100">
            <a:solidFill>
              <a:schemeClr val="tx1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 descr="A screen shot of a computer&#10;&#10;Description automatically generated">
            <a:extLst>
              <a:ext uri="{FF2B5EF4-FFF2-40B4-BE49-F238E27FC236}">
                <a16:creationId xmlns:a16="http://schemas.microsoft.com/office/drawing/2014/main" id="{C8531401-238C-8040-AD5F-BC4EE15650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74174" y="3445478"/>
            <a:ext cx="1881234" cy="313828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F270AACA-CC57-3B45-B1CD-D6B8E3731E1A}"/>
              </a:ext>
            </a:extLst>
          </p:cNvPr>
          <p:cNvGrpSpPr/>
          <p:nvPr/>
        </p:nvGrpSpPr>
        <p:grpSpPr>
          <a:xfrm rot="5400000">
            <a:off x="900948" y="655962"/>
            <a:ext cx="806346" cy="2221859"/>
            <a:chOff x="7747266" y="3723621"/>
            <a:chExt cx="608235" cy="2221859"/>
          </a:xfrm>
        </p:grpSpPr>
        <p:sp>
          <p:nvSpPr>
            <p:cNvPr id="15" name="Isosceles Triangle 90">
              <a:extLst>
                <a:ext uri="{FF2B5EF4-FFF2-40B4-BE49-F238E27FC236}">
                  <a16:creationId xmlns:a16="http://schemas.microsoft.com/office/drawing/2014/main" id="{055E6D3A-471B-D245-8EF1-881E0AEAA682}"/>
                </a:ext>
              </a:extLst>
            </p:cNvPr>
            <p:cNvSpPr/>
            <p:nvPr/>
          </p:nvSpPr>
          <p:spPr>
            <a:xfrm flipV="1">
              <a:off x="7835383" y="3723621"/>
              <a:ext cx="378000" cy="1397101"/>
            </a:xfrm>
            <a:prstGeom prst="triangle">
              <a:avLst/>
            </a:prstGeom>
            <a:solidFill>
              <a:srgbClr val="FFFF00">
                <a:alpha val="3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Isosceles Triangle 109">
              <a:extLst>
                <a:ext uri="{FF2B5EF4-FFF2-40B4-BE49-F238E27FC236}">
                  <a16:creationId xmlns:a16="http://schemas.microsoft.com/office/drawing/2014/main" id="{F72B100C-9F57-1C41-A300-61EE0FF07FF6}"/>
                </a:ext>
              </a:extLst>
            </p:cNvPr>
            <p:cNvSpPr/>
            <p:nvPr/>
          </p:nvSpPr>
          <p:spPr>
            <a:xfrm flipV="1">
              <a:off x="7868909" y="4034811"/>
              <a:ext cx="324000" cy="1085911"/>
            </a:xfrm>
            <a:prstGeom prst="triangle">
              <a:avLst/>
            </a:prstGeom>
            <a:solidFill>
              <a:srgbClr val="FF0000">
                <a:alpha val="4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7" name="Picture 43">
              <a:extLst>
                <a:ext uri="{FF2B5EF4-FFF2-40B4-BE49-F238E27FC236}">
                  <a16:creationId xmlns:a16="http://schemas.microsoft.com/office/drawing/2014/main" id="{B13E26AF-EAA7-FE42-9060-710F3F34C86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7266" y="5006631"/>
              <a:ext cx="608235" cy="938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9" name="Graphic 18" descr="Forbidden">
            <a:extLst>
              <a:ext uri="{FF2B5EF4-FFF2-40B4-BE49-F238E27FC236}">
                <a16:creationId xmlns:a16="http://schemas.microsoft.com/office/drawing/2014/main" id="{6E53BE58-F3E3-D94C-8EE3-67958DFD22D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03709" y="5438252"/>
            <a:ext cx="412107" cy="412107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465832AA-5785-A346-96BC-793661D3F00E}"/>
              </a:ext>
            </a:extLst>
          </p:cNvPr>
          <p:cNvGrpSpPr/>
          <p:nvPr/>
        </p:nvGrpSpPr>
        <p:grpSpPr>
          <a:xfrm>
            <a:off x="1369618" y="2206242"/>
            <a:ext cx="1627387" cy="524000"/>
            <a:chOff x="536713" y="5512860"/>
            <a:chExt cx="1627387" cy="524000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A0178F6-6CFE-FC43-9C66-75731B64B1BE}"/>
                </a:ext>
              </a:extLst>
            </p:cNvPr>
            <p:cNvSpPr txBox="1"/>
            <p:nvPr/>
          </p:nvSpPr>
          <p:spPr>
            <a:xfrm>
              <a:off x="536713" y="5759861"/>
              <a:ext cx="162738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“NO-GO ZONE AHEAD”</a:t>
              </a:r>
            </a:p>
          </p:txBody>
        </p:sp>
        <p:pic>
          <p:nvPicPr>
            <p:cNvPr id="22" name="Graphic 21" descr="Wi-Fi">
              <a:extLst>
                <a:ext uri="{FF2B5EF4-FFF2-40B4-BE49-F238E27FC236}">
                  <a16:creationId xmlns:a16="http://schemas.microsoft.com/office/drawing/2014/main" id="{7EE0413B-07B0-9D44-8FB9-95C0F690F5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20278001">
              <a:off x="1024205" y="5512860"/>
              <a:ext cx="380999" cy="380999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723D5E2-6240-D64C-95AB-419831D463DD}"/>
              </a:ext>
            </a:extLst>
          </p:cNvPr>
          <p:cNvGrpSpPr/>
          <p:nvPr/>
        </p:nvGrpSpPr>
        <p:grpSpPr>
          <a:xfrm>
            <a:off x="2321353" y="2201051"/>
            <a:ext cx="1303014" cy="532231"/>
            <a:chOff x="704640" y="5512860"/>
            <a:chExt cx="1303014" cy="532231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AE8DEF3-C8C6-8948-B12D-A6154F195184}"/>
                </a:ext>
              </a:extLst>
            </p:cNvPr>
            <p:cNvSpPr txBox="1"/>
            <p:nvPr/>
          </p:nvSpPr>
          <p:spPr>
            <a:xfrm>
              <a:off x="704640" y="5768092"/>
              <a:ext cx="13030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“ZONE BREACH”</a:t>
              </a:r>
            </a:p>
          </p:txBody>
        </p:sp>
        <p:pic>
          <p:nvPicPr>
            <p:cNvPr id="25" name="Graphic 24" descr="Wi-Fi">
              <a:extLst>
                <a:ext uri="{FF2B5EF4-FFF2-40B4-BE49-F238E27FC236}">
                  <a16:creationId xmlns:a16="http://schemas.microsoft.com/office/drawing/2014/main" id="{271F3152-DBFD-F24E-B853-E1FDBF7B7D5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20278001">
              <a:off x="1024205" y="5512860"/>
              <a:ext cx="380999" cy="3809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125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1.11111E-6 L 0.02865 -0.00093 " pathEditMode="relative" rAng="0" ptsTypes="AA">
                                      <p:cBhvr>
                                        <p:cTn id="14" dur="4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32" y="-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4000"/>
                            </p:stCondLst>
                            <p:childTnLst>
                              <p:par>
                                <p:cTn id="16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1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2865 -0.00093 L 0.05612 -0.00255 " pathEditMode="relative" rAng="0" ptsTypes="AA">
                                      <p:cBhvr>
                                        <p:cTn id="28" dur="3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67" y="-93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2" presetClass="entr" presetSubtype="4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5612 -0.00255 L 0.14518 0.00278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453" y="23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u6Ris9mECUQjQ8ppo5S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14">
      <a:dk1>
        <a:srgbClr val="3F3F3F"/>
      </a:dk1>
      <a:lt1>
        <a:srgbClr val="FFFFFF"/>
      </a:lt1>
      <a:dk2>
        <a:srgbClr val="F2F2F2"/>
      </a:dk2>
      <a:lt2>
        <a:srgbClr val="A5A5A5"/>
      </a:lt2>
      <a:accent1>
        <a:srgbClr val="00194C"/>
      </a:accent1>
      <a:accent2>
        <a:srgbClr val="EAB200"/>
      </a:accent2>
      <a:accent3>
        <a:srgbClr val="F2F2F2"/>
      </a:accent3>
      <a:accent4>
        <a:srgbClr val="954F72"/>
      </a:accent4>
      <a:accent5>
        <a:srgbClr val="00843B"/>
      </a:accent5>
      <a:accent6>
        <a:srgbClr val="014067"/>
      </a:accent6>
      <a:hlink>
        <a:srgbClr val="00194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0951641_Hexagon presentation light_AAS_v4" id="{358289A0-A26B-433F-AD2B-1F8832C96153}" vid="{92CDC91D-95BF-4897-87D6-494563DF797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</TotalTime>
  <Words>251</Words>
  <Application>Microsoft Macintosh PowerPoint</Application>
  <PresentationFormat>Widescreen</PresentationFormat>
  <Paragraphs>21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Gill Sans SemiBold</vt:lpstr>
      <vt:lpstr>Montserrat</vt:lpstr>
      <vt:lpstr>Montserrat Medium</vt:lpstr>
      <vt:lpstr>Times New Roman</vt:lpstr>
      <vt:lpstr>1_Office Theme</vt:lpstr>
      <vt:lpstr>2_Office Theme</vt:lpstr>
      <vt:lpstr>PowerPoint Presentation</vt:lpstr>
      <vt:lpstr>Adapting and Using EMESRT Story Boards</vt:lpstr>
      <vt:lpstr>Segregated Road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SRT</dc:creator>
  <cp:lastModifiedBy>Eve McDonald</cp:lastModifiedBy>
  <cp:revision>8</cp:revision>
  <dcterms:created xsi:type="dcterms:W3CDTF">2020-10-07T22:58:51Z</dcterms:created>
  <dcterms:modified xsi:type="dcterms:W3CDTF">2024-05-09T22:57:01Z</dcterms:modified>
</cp:coreProperties>
</file>